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8202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5" y="5981704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2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9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41657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475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2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1482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2" y="1025529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53898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2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6" y="2327279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2" y="6381754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5" y="6526217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2010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5" y="5981704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2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8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2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7520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9018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 sz="1800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5" y="5981704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1" y="769942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8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8202"/>
            <a:ext cx="330218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141233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2" y="6381754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5" y="6526217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1800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40" y="6626229"/>
            <a:ext cx="2667397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smtClean="0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z="900" smtClean="0">
                <a:solidFill>
                  <a:srgbClr val="7F7F7F"/>
                </a:solidFill>
              </a:rPr>
              <a:pPr/>
              <a:t>07 August 2014</a:t>
            </a:fld>
            <a:r>
              <a:rPr lang="en-GB" sz="900" smtClean="0">
                <a:solidFill>
                  <a:srgbClr val="7F7F7F"/>
                </a:solidFill>
              </a:rPr>
              <a:t> – Confidential</a:t>
            </a:r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9"/>
            <a:ext cx="5081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rgbClr val="7F7F7F"/>
                </a:solidFill>
              </a:rPr>
              <a:pPr/>
              <a:t>‹N°›</a:t>
            </a:fld>
            <a:endParaRPr lang="en-GB" sz="900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2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214765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lang="fr-FR" dirty="0" smtClean="0"/>
              <a:t>Une </a:t>
            </a:r>
            <a:r>
              <a:rPr lang="fr-FR" dirty="0"/>
              <a:t>solution innovante sans huile pour Starcans</a:t>
            </a:r>
            <a:br>
              <a:rPr lang="fr-FR" dirty="0"/>
            </a:br>
            <a:r>
              <a:rPr lang="fr-FR" dirty="0"/>
              <a:t/>
            </a:r>
            <a:br>
              <a:rPr lang="fr-FR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 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4" y="1329274"/>
            <a:ext cx="7997825" cy="307777"/>
          </a:xfrm>
        </p:spPr>
        <p:txBody>
          <a:bodyPr vert="horz" lIns="0" tIns="0" rIns="0" bIns="0" rtlCol="0" anchor="b">
            <a:spAutoFit/>
          </a:bodyPr>
          <a:lstStyle/>
          <a:p>
            <a:r>
              <a:rPr lang="fr-FR" dirty="0" smtClean="0"/>
              <a:t>Chariot </a:t>
            </a:r>
            <a:r>
              <a:rPr lang="fr-FR" dirty="0"/>
              <a:t>supérieur Starcans - Actionnement sans air lubrifié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9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 err="1">
                <a:solidFill>
                  <a:srgbClr val="000000"/>
                </a:solidFill>
              </a:rPr>
              <a:t>Valeur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 err="1">
                <a:solidFill>
                  <a:srgbClr val="000000"/>
                </a:solidFill>
              </a:rPr>
              <a:t>Rendement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 err="1">
                <a:solidFill>
                  <a:srgbClr val="000000"/>
                </a:solidFill>
              </a:rPr>
              <a:t>Equipement</a:t>
            </a:r>
            <a:r>
              <a:rPr sz="800" kern="0" dirty="0">
                <a:solidFill>
                  <a:srgbClr val="000000"/>
                </a:solidFill>
              </a:rPr>
              <a:t>: </a:t>
            </a:r>
            <a:r>
              <a:rPr sz="800" kern="0" dirty="0" err="1">
                <a:solidFill>
                  <a:srgbClr val="000000"/>
                </a:solidFill>
              </a:rPr>
              <a:t>Remplisseuses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sz="800" kern="0" dirty="0">
                <a:solidFill>
                  <a:srgbClr val="000000"/>
                </a:solidFill>
              </a:rPr>
              <a:t>Code catalogue: </a:t>
            </a:r>
            <a:r>
              <a:rPr sz="800" kern="0" dirty="0" smtClean="0">
                <a:solidFill>
                  <a:srgbClr val="000000"/>
                </a:solidFill>
              </a:rPr>
              <a:t>HS045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4" y="12704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026471"/>
              </p:ext>
            </p:extLst>
          </p:nvPr>
        </p:nvGraphicFramePr>
        <p:xfrm>
          <a:off x="651885" y="1743079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EUR ET AVANTAGE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ygiène renforcée : « Une solution sans huile »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intenance simplifiée : Le système d'air comprimé est supprimé : maintenance désormais non requise (nettoyage et remplacement des filtres, joints, etc.)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ériodicité d'entretien élargie dans des conditions standard de maintenance de la machine : toutes les 4 000 heures au lieu de 2 500/3 000 heures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1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fr-FR" sz="12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 solution consiste à remplacer le système d'air comprimé par un système mécanique à ressort.</a:t>
                      </a:r>
                    </a:p>
                    <a:p>
                      <a:pPr marL="182563" marR="0" lvl="1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fr-FR" sz="12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 chariot de la vanne est modifié par suppression de tous les joints de la tige coulissante et insertion de la nouvelle tige et du ressort d‘actionnement.</a:t>
                      </a:r>
                    </a:p>
                    <a:p>
                      <a:pPr marL="171450" marR="0" lvl="1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fr-FR" sz="1200" b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 système de transfert d'huile vers le carrousel de remplissage n'est plus nécessaire et remplacé par une solution sans huile plus hygiénique, plus économique et d'entretien plus simple.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Pct val="7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1100" kern="1200" noProof="0" dirty="0" smtClean="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" name="Imag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3382" y="4096087"/>
            <a:ext cx="615749" cy="150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1482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5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15_Sidel Template 2013</vt:lpstr>
      <vt:lpstr>think-cell Folie</vt:lpstr>
      <vt:lpstr>Une solution innovante sans huile pour Starcans    </vt:lpstr>
    </vt:vector>
  </TitlesOfParts>
  <Company>Side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ression des bourrages de bouchons et augmentation de l'efficacité de production    </dc:title>
  <dc:creator>De Chanteloup, Barbara</dc:creator>
  <cp:lastModifiedBy>De Chanteloup, Barbara</cp:lastModifiedBy>
  <cp:revision>3</cp:revision>
  <dcterms:created xsi:type="dcterms:W3CDTF">2014-08-07T07:19:36Z</dcterms:created>
  <dcterms:modified xsi:type="dcterms:W3CDTF">2014-08-07T07:25:55Z</dcterms:modified>
</cp:coreProperties>
</file>